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82" r:id="rId2"/>
    <p:sldId id="308" r:id="rId3"/>
    <p:sldId id="314" r:id="rId4"/>
    <p:sldId id="315" r:id="rId5"/>
    <p:sldId id="316" r:id="rId6"/>
    <p:sldId id="317" r:id="rId7"/>
    <p:sldId id="318" r:id="rId8"/>
    <p:sldId id="319" r:id="rId9"/>
    <p:sldId id="320" r:id="rId10"/>
    <p:sldId id="321" r:id="rId11"/>
    <p:sldId id="322" r:id="rId12"/>
    <p:sldId id="323" r:id="rId13"/>
    <p:sldId id="324" r:id="rId14"/>
    <p:sldId id="325" r:id="rId15"/>
  </p:sldIdLst>
  <p:sldSz cx="12192000" cy="6858000"/>
  <p:notesSz cx="7004050" cy="9290050"/>
  <p:custDataLst>
    <p:tags r:id="rId18"/>
  </p:custDataLst>
  <p:defaultTextStyle>
    <a:defPPr>
      <a:defRPr lang="en-ZA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1B4291"/>
    <a:srgbClr val="1D489F"/>
    <a:srgbClr val="1F4EA9"/>
    <a:srgbClr val="FFD400"/>
    <a:srgbClr val="BF9000"/>
    <a:srgbClr val="CC3300"/>
    <a:srgbClr val="FFCC72"/>
    <a:srgbClr val="F6B5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67163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78E8B5B-194D-453A-AC11-87B6787837D9}" type="datetimeFigureOut">
              <a:rPr lang="en-ZA"/>
              <a:pPr>
                <a:defRPr/>
              </a:pPr>
              <a:t>2021/07/16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67163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253EE33-B624-49A1-93A7-15C7F10F0E7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39392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7163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DFF54EA-EF07-415D-896B-D95C17C67A9E}" type="datetimeFigureOut">
              <a:rPr lang="en-ZA"/>
              <a:pPr>
                <a:defRPr/>
              </a:pPr>
              <a:t>2021/07/1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1250" cy="3482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ZA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088" y="4413250"/>
            <a:ext cx="5603875" cy="417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ext styles</a:t>
            </a:r>
          </a:p>
          <a:p>
            <a:pPr lvl="1"/>
            <a:r>
              <a:rPr lang="en-ZA" altLang="en-US"/>
              <a:t>Second level</a:t>
            </a:r>
          </a:p>
          <a:p>
            <a:pPr lvl="2"/>
            <a:r>
              <a:rPr lang="en-ZA" altLang="en-US"/>
              <a:t>Third level</a:t>
            </a:r>
          </a:p>
          <a:p>
            <a:pPr lvl="3"/>
            <a:r>
              <a:rPr lang="en-ZA" altLang="en-US"/>
              <a:t>Fourth level</a:t>
            </a:r>
          </a:p>
          <a:p>
            <a:pPr lvl="4"/>
            <a:r>
              <a:rPr lang="en-ZA" alt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7163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873C78D9-C3C1-44CE-BBD0-14C467936D4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328081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4.emf"/><Relationship Id="rId4" Type="http://schemas.openxmlformats.org/officeDocument/2006/relationships/slideMaster" Target="../slideMasters/slideMaster1.xml"/><Relationship Id="rId9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9" name="Rectangle 8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60E9EC4-ABEF-4F05-BB51-71A0B5AF4E78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5E72FF7-17D1-49CE-B264-3C5316C2AD8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0613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B9C665B-F083-4435-AA27-EEB4DCE974D3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FF67ED3-0A16-4512-B288-11133FD98B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522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F33B96E-E7EF-4FC2-A388-8C5453DD8522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1F69502-4FE7-4669-B921-8750C54731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107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OWER_USER_LAYOUT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5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graphicFrame>
        <p:nvGraphicFramePr>
          <p:cNvPr id="8" name="Object 8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988" y="225425"/>
            <a:ext cx="121904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65316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9755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9" name="Rectangle 8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2F9B81A-45B2-4DF9-AFBC-F61A33F80B9E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2EA328C-DC9E-4C0B-B345-AC00F87FE1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6426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9" name="Rectangle 8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F64B59E-EFF2-400B-B4FD-4169960C78E7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68445F1-DE3A-4750-94F4-728441A0CF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093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10" name="Rectangle 9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F3CCB44-E678-4BF9-8E77-8243FCD38451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8AF87D5-5C1C-44C5-84DC-2D200797D2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574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12" name="Rectangle 11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BD5F02F-3CA8-4FA1-BB4B-1DC371DC7579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6ECD7C3-C976-450E-8A11-9E509B627D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550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74625"/>
            <a:ext cx="12192000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8" name="Rectangle 7"/>
          <p:cNvSpPr/>
          <p:nvPr/>
        </p:nvSpPr>
        <p:spPr>
          <a:xfrm>
            <a:off x="0" y="53975"/>
            <a:ext cx="12192000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7CB16E3-0097-4C64-889C-9F5BE75DC934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8C86844-CD75-415D-A9F4-635AB012B7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385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5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196FCBC-4C9A-49D0-A6AD-5922DC0021D2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79E089C-E7C7-4F41-974E-E387474A72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4885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8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97430DF-D422-4A6D-AE7F-815F939B6C4F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C5835C7-8C27-4810-9B30-4B14DABA24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6007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8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727E172-43B0-4FB8-A9F0-B7F3E6798C54}" type="datetimeFigureOut">
              <a:rPr lang="en-US"/>
              <a:pPr>
                <a:defRPr/>
              </a:pPr>
              <a:t>7/16/2021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2B53026-3D16-4EC2-930E-6269B64D80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407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0" imgH="469" progId="TCLayout.ActiveDocument.1">
                  <p:embed/>
                </p:oleObj>
              </mc:Choice>
              <mc:Fallback>
                <p:oleObj name="think-cell Slide" r:id="rId17" imgW="470" imgH="469" progId="TCLayout.ActiveDocument.1">
                  <p:embed/>
                  <p:pic>
                    <p:nvPicPr>
                      <p:cNvPr id="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pic>
        <p:nvPicPr>
          <p:cNvPr id="1029" name="Picture 13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14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6" Type="http://schemas.openxmlformats.org/officeDocument/2006/relationships/image" Target="../media/image21.jpg"/><Relationship Id="rId5" Type="http://schemas.openxmlformats.org/officeDocument/2006/relationships/image" Target="../media/image20.jp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6" Type="http://schemas.openxmlformats.org/officeDocument/2006/relationships/image" Target="../media/image13.png"/><Relationship Id="rId5" Type="http://schemas.openxmlformats.org/officeDocument/2006/relationships/image" Target="../media/image12.JP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4300" b="1" dirty="0">
              <a:latin typeface="Century Gothic"/>
              <a:ea typeface="Verdana"/>
              <a:cs typeface="Verdana"/>
              <a:sym typeface="Century Gothic"/>
            </a:endParaRPr>
          </a:p>
        </p:txBody>
      </p:sp>
      <p:pic>
        <p:nvPicPr>
          <p:cNvPr id="14340" name="Picture 45" descr="A hand holding a cellphone&#10;&#10;Description automatically generate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440"/>
          <a:stretch>
            <a:fillRect/>
          </a:stretch>
        </p:blipFill>
        <p:spPr bwMode="auto">
          <a:xfrm>
            <a:off x="0" y="0"/>
            <a:ext cx="12192000" cy="686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1" name="Freeform 5"/>
          <p:cNvSpPr>
            <a:spLocks/>
          </p:cNvSpPr>
          <p:nvPr/>
        </p:nvSpPr>
        <p:spPr bwMode="auto">
          <a:xfrm>
            <a:off x="407988" y="3248025"/>
            <a:ext cx="11782425" cy="3621088"/>
          </a:xfrm>
          <a:custGeom>
            <a:avLst/>
            <a:gdLst>
              <a:gd name="T0" fmla="*/ 11781336 w 4411"/>
              <a:gd name="T1" fmla="*/ 3621610 h 1395"/>
              <a:gd name="T2" fmla="*/ 0 w 4411"/>
              <a:gd name="T3" fmla="*/ 3621610 h 1395"/>
              <a:gd name="T4" fmla="*/ 11781336 w 4411"/>
              <a:gd name="T5" fmla="*/ 0 h 1395"/>
              <a:gd name="T6" fmla="*/ 11781336 w 4411"/>
              <a:gd name="T7" fmla="*/ 3621610 h 139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411" h="1395">
                <a:moveTo>
                  <a:pt x="4411" y="1395"/>
                </a:moveTo>
                <a:lnTo>
                  <a:pt x="0" y="1395"/>
                </a:lnTo>
                <a:lnTo>
                  <a:pt x="4411" y="0"/>
                </a:lnTo>
                <a:lnTo>
                  <a:pt x="4411" y="1395"/>
                </a:lnTo>
                <a:close/>
              </a:path>
            </a:pathLst>
          </a:custGeom>
          <a:solidFill>
            <a:srgbClr val="1D489F"/>
          </a:solidFill>
          <a:ln>
            <a:noFill/>
          </a:ln>
        </p:spPr>
        <p:txBody>
          <a:bodyPr/>
          <a:lstStyle/>
          <a:p>
            <a:r>
              <a:rPr lang="en-ZA" dirty="0"/>
              <a:t>c</a:t>
            </a:r>
          </a:p>
        </p:txBody>
      </p:sp>
      <p:sp>
        <p:nvSpPr>
          <p:cNvPr id="21" name="Freeform 7"/>
          <p:cNvSpPr>
            <a:spLocks/>
          </p:cNvSpPr>
          <p:nvPr/>
        </p:nvSpPr>
        <p:spPr bwMode="auto">
          <a:xfrm>
            <a:off x="0" y="3179763"/>
            <a:ext cx="12190413" cy="3684587"/>
          </a:xfrm>
          <a:custGeom>
            <a:avLst/>
            <a:gdLst>
              <a:gd name="T0" fmla="*/ 4501 w 4501"/>
              <a:gd name="T1" fmla="*/ 58 h 1428"/>
              <a:gd name="T2" fmla="*/ 183 w 4501"/>
              <a:gd name="T3" fmla="*/ 1428 h 1428"/>
              <a:gd name="T4" fmla="*/ 0 w 4501"/>
              <a:gd name="T5" fmla="*/ 1428 h 1428"/>
              <a:gd name="T6" fmla="*/ 4501 w 4501"/>
              <a:gd name="T7" fmla="*/ 0 h 1428"/>
              <a:gd name="T8" fmla="*/ 4501 w 4501"/>
              <a:gd name="T9" fmla="*/ 58 h 1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01" h="1428">
                <a:moveTo>
                  <a:pt x="4501" y="58"/>
                </a:moveTo>
                <a:lnTo>
                  <a:pt x="183" y="1428"/>
                </a:lnTo>
                <a:lnTo>
                  <a:pt x="0" y="1428"/>
                </a:lnTo>
                <a:lnTo>
                  <a:pt x="4501" y="0"/>
                </a:lnTo>
                <a:lnTo>
                  <a:pt x="4501" y="5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1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en-ZW" sz="2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grpSp>
        <p:nvGrpSpPr>
          <p:cNvPr id="14343" name="Group 21"/>
          <p:cNvGrpSpPr>
            <a:grpSpLocks/>
          </p:cNvGrpSpPr>
          <p:nvPr/>
        </p:nvGrpSpPr>
        <p:grpSpPr bwMode="auto">
          <a:xfrm>
            <a:off x="6380163" y="4848225"/>
            <a:ext cx="5838825" cy="1773238"/>
            <a:chOff x="2287660" y="3622384"/>
            <a:chExt cx="5839295" cy="1772326"/>
          </a:xfrm>
        </p:grpSpPr>
        <p:sp>
          <p:nvSpPr>
            <p:cNvPr id="14345" name="TextBox 22"/>
            <p:cNvSpPr txBox="1">
              <a:spLocks noChangeArrowheads="1"/>
            </p:cNvSpPr>
            <p:nvPr/>
          </p:nvSpPr>
          <p:spPr bwMode="auto">
            <a:xfrm>
              <a:off x="2287660" y="3622384"/>
              <a:ext cx="5839295" cy="163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en-ZA" altLang="en-US" sz="5000" b="1" dirty="0">
                  <a:solidFill>
                    <a:schemeClr val="bg1"/>
                  </a:solidFill>
                  <a:latin typeface="Yu Gothic" pitchFamily="34" charset="-128"/>
                  <a:ea typeface="Yu Gothic" pitchFamily="34" charset="-128"/>
                </a:rPr>
                <a:t>INCREDIBLE </a:t>
              </a:r>
            </a:p>
            <a:p>
              <a:pPr algn="ctr"/>
              <a:r>
                <a:rPr lang="en-ZA" altLang="en-US" sz="5000" b="1" dirty="0">
                  <a:solidFill>
                    <a:schemeClr val="bg1"/>
                  </a:solidFill>
                  <a:latin typeface="Yu Gothic" pitchFamily="34" charset="-128"/>
                  <a:ea typeface="Yu Gothic" pitchFamily="34" charset="-128"/>
                </a:rPr>
                <a:t>INSTALLATIONS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440278" y="5056746"/>
              <a:ext cx="3565812" cy="3379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ZA" sz="1600" dirty="0">
                  <a:solidFill>
                    <a:schemeClr val="bg1"/>
                  </a:solidFill>
                  <a:latin typeface="Gill Sans MT" panose="020B0502020104020203" pitchFamily="34" charset="0"/>
                  <a:ea typeface="Yu Gothic UI Semilight" panose="020B0400000000000000" pitchFamily="34" charset="-128"/>
                  <a:cs typeface="Leelawadee" panose="020B0502040204020203" pitchFamily="34" charset="-34"/>
                </a:rPr>
                <a:t>QUALITY,  WITHOUT COMPROMISE</a:t>
              </a:r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2611536" y="5205894"/>
              <a:ext cx="828742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006090" y="5205894"/>
              <a:ext cx="828742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14344" name="Picture 1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8725" y="1150938"/>
            <a:ext cx="4035425" cy="400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Project Sta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F1666D-19A4-4DCA-8CBD-D4D76CB2B736}"/>
              </a:ext>
            </a:extLst>
          </p:cNvPr>
          <p:cNvSpPr txBox="1"/>
          <p:nvPr/>
        </p:nvSpPr>
        <p:spPr>
          <a:xfrm>
            <a:off x="3781425" y="1066800"/>
            <a:ext cx="4057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stallation Start and Finish 2/27/202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839F02-775A-4D54-B371-0A1A671E9A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81337" y="1600200"/>
            <a:ext cx="5629275" cy="474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4442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2737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Customer COC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F1666D-19A4-4DCA-8CBD-D4D76CB2B736}"/>
              </a:ext>
            </a:extLst>
          </p:cNvPr>
          <p:cNvSpPr txBox="1"/>
          <p:nvPr/>
        </p:nvSpPr>
        <p:spPr>
          <a:xfrm>
            <a:off x="3781425" y="1066800"/>
            <a:ext cx="4057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stallation Start and Finish 2/27/202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4F5423-9CC5-4E99-B952-DA0160264D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9424" y="934389"/>
            <a:ext cx="5033152" cy="5780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5616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083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After Pics</a:t>
            </a:r>
          </a:p>
        </p:txBody>
      </p:sp>
      <p:pic>
        <p:nvPicPr>
          <p:cNvPr id="3" name="Picture 2" descr="A picture containing indoor, wall, floor, ceiling&#10;&#10;Description automatically generated">
            <a:extLst>
              <a:ext uri="{FF2B5EF4-FFF2-40B4-BE49-F238E27FC236}">
                <a16:creationId xmlns:a16="http://schemas.microsoft.com/office/drawing/2014/main" id="{B49ED147-7695-4982-83B7-CC833A01FE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125" y="790576"/>
            <a:ext cx="5019675" cy="5859097"/>
          </a:xfrm>
          <a:prstGeom prst="rect">
            <a:avLst/>
          </a:prstGeom>
        </p:spPr>
      </p:pic>
      <p:pic>
        <p:nvPicPr>
          <p:cNvPr id="6" name="Picture 5" descr="A picture containing wall, indoor, bathroom, floor&#10;&#10;Description automatically generated">
            <a:extLst>
              <a:ext uri="{FF2B5EF4-FFF2-40B4-BE49-F238E27FC236}">
                <a16:creationId xmlns:a16="http://schemas.microsoft.com/office/drawing/2014/main" id="{96E714D9-734E-495B-80C0-1474CA8AAE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375" y="790577"/>
            <a:ext cx="5143500" cy="585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711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083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Payment Receiv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49738D-3417-4D44-A17D-05BB2FB7F2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66900" y="1023937"/>
            <a:ext cx="8458200" cy="528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8452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083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Reconciled Job Break Dow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C8BB9-4E09-4C1F-B2D8-88C23F8E9F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" y="2100262"/>
            <a:ext cx="10972800" cy="265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472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917729"/>
              </p:ext>
            </p:ext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Lead Processing</a:t>
            </a:r>
          </a:p>
        </p:txBody>
      </p:sp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105A7FF-6FA4-4373-B31A-A66EA18C75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975" y="1460399"/>
            <a:ext cx="8738049" cy="3937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300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Lead to Scheduled</a:t>
            </a:r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DEB4225-FA03-45F2-8E1E-72302EA2C2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5925" y="1200150"/>
            <a:ext cx="8486775" cy="5095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03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Before Pictures</a:t>
            </a:r>
          </a:p>
        </p:txBody>
      </p:sp>
      <p:pic>
        <p:nvPicPr>
          <p:cNvPr id="3" name="Picture 2" descr="A picture containing indoor, floor, bathroom, toilet&#10;&#10;Description automatically generated">
            <a:extLst>
              <a:ext uri="{FF2B5EF4-FFF2-40B4-BE49-F238E27FC236}">
                <a16:creationId xmlns:a16="http://schemas.microsoft.com/office/drawing/2014/main" id="{4AAD980C-1FCA-4B72-BE6B-C5324585DD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62" y="771526"/>
            <a:ext cx="4989513" cy="5753099"/>
          </a:xfrm>
          <a:prstGeom prst="rect">
            <a:avLst/>
          </a:prstGeom>
        </p:spPr>
      </p:pic>
      <p:pic>
        <p:nvPicPr>
          <p:cNvPr id="6" name="Picture 5" descr="A bathtub in a wooden room&#10;&#10;Description automatically generated with low confidence">
            <a:extLst>
              <a:ext uri="{FF2B5EF4-FFF2-40B4-BE49-F238E27FC236}">
                <a16:creationId xmlns:a16="http://schemas.microsoft.com/office/drawing/2014/main" id="{E8F0F11D-2607-4638-8930-D82CF966BF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2724" y="771527"/>
            <a:ext cx="4989513" cy="575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3463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In Home Drawing and Estimator</a:t>
            </a:r>
          </a:p>
        </p:txBody>
      </p:sp>
      <p:pic>
        <p:nvPicPr>
          <p:cNvPr id="4" name="Picture 3" descr="A picture containing text, whiteboard&#10;&#10;Description automatically generated">
            <a:extLst>
              <a:ext uri="{FF2B5EF4-FFF2-40B4-BE49-F238E27FC236}">
                <a16:creationId xmlns:a16="http://schemas.microsoft.com/office/drawing/2014/main" id="{CA575BD7-FB37-4368-9E26-3B0605ACDA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847727"/>
            <a:ext cx="4371975" cy="56959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46251E1-587C-4630-890C-D23EFE7864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1175" y="1428750"/>
            <a:ext cx="5857875" cy="400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0902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Signed Contract Ha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9B6C3-A266-4812-9ECE-5F220D39CC16}"/>
              </a:ext>
            </a:extLst>
          </p:cNvPr>
          <p:cNvSpPr txBox="1"/>
          <p:nvPr/>
        </p:nvSpPr>
        <p:spPr>
          <a:xfrm>
            <a:off x="200026" y="1543050"/>
            <a:ext cx="2971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5F866E-B011-4836-AD6C-FCC771057E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6318" y="668706"/>
            <a:ext cx="5299364" cy="6189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9428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Scope and Product Order Shee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3A3414-07D7-4368-846A-F248648BA0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5175" y="810854"/>
            <a:ext cx="5581650" cy="5800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2166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Order Place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74AF34-3DE9-453B-B00D-736EDEC791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583422"/>
            <a:ext cx="12192000" cy="369115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CF1666D-19A4-4DCA-8CBD-D4D76CB2B736}"/>
              </a:ext>
            </a:extLst>
          </p:cNvPr>
          <p:cNvSpPr txBox="1"/>
          <p:nvPr/>
        </p:nvSpPr>
        <p:spPr>
          <a:xfrm>
            <a:off x="3819525" y="1076325"/>
            <a:ext cx="37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CI Order Delivered 2/20/21.</a:t>
            </a:r>
          </a:p>
        </p:txBody>
      </p:sp>
    </p:spTree>
    <p:extLst>
      <p:ext uri="{BB962C8B-B14F-4D97-AF65-F5344CB8AC3E}">
        <p14:creationId xmlns:p14="http://schemas.microsoft.com/office/powerpoint/2010/main" val="4314094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536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0" y="64171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2" y="246421"/>
            <a:ext cx="120636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Robert Hay Sale Cycle – Order Plac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F1666D-19A4-4DCA-8CBD-D4D76CB2B736}"/>
              </a:ext>
            </a:extLst>
          </p:cNvPr>
          <p:cNvSpPr txBox="1"/>
          <p:nvPr/>
        </p:nvSpPr>
        <p:spPr>
          <a:xfrm>
            <a:off x="3819525" y="1076325"/>
            <a:ext cx="37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D Order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382E73-CB29-499C-9C4F-98AD6459C7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3512" y="2190750"/>
            <a:ext cx="9324975" cy="247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502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1D&quot; g=&quot;48&quot; b=&quot;9F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FAresMr.6lrESLcAD6c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heme/theme1.xml><?xml version="1.0" encoding="utf-8"?>
<a:theme xmlns:a="http://schemas.openxmlformats.org/drawingml/2006/main" name="Incredible Presentation 10.07.202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credible Presentation 10.07.2020</Template>
  <TotalTime>29360</TotalTime>
  <Words>165</Words>
  <Application>Microsoft Office PowerPoint</Application>
  <PresentationFormat>Widescreen</PresentationFormat>
  <Paragraphs>21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Yu Gothic</vt:lpstr>
      <vt:lpstr>Arial</vt:lpstr>
      <vt:lpstr>Calibri</vt:lpstr>
      <vt:lpstr>Calibri Light</vt:lpstr>
      <vt:lpstr>Century Gothic</vt:lpstr>
      <vt:lpstr>Gill Sans MT</vt:lpstr>
      <vt:lpstr>Incredible Presentation 10.07.2020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ist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ters, Ryan</dc:creator>
  <cp:lastModifiedBy>Jason Hester</cp:lastModifiedBy>
  <cp:revision>143</cp:revision>
  <cp:lastPrinted>2020-06-25T19:13:08Z</cp:lastPrinted>
  <dcterms:created xsi:type="dcterms:W3CDTF">2020-07-13T15:10:16Z</dcterms:created>
  <dcterms:modified xsi:type="dcterms:W3CDTF">2021-07-28T12:36:48Z</dcterms:modified>
</cp:coreProperties>
</file>